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5" d="100"/>
          <a:sy n="65" d="100"/>
        </p:scale>
        <p:origin x="738" y="10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0B8A5CA8-75BC-1D12-FCF6-352290B4F533}"/>
    <pc:docChg chg="modSld">
      <pc:chgData name="Christodoulou, Konstantinos" userId="S::kchristodoulou@internal.colt.net::81c234c6-6624-4c83-aac0-9aea992cfbe7" providerId="AD" clId="Web-{0B8A5CA8-75BC-1D12-FCF6-352290B4F533}" dt="2019-02-05T09:08:43.842" v="111"/>
      <pc:docMkLst>
        <pc:docMk/>
      </pc:docMkLst>
      <pc:sldChg chg="modSp">
        <pc:chgData name="Christodoulou, Konstantinos" userId="S::kchristodoulou@internal.colt.net::81c234c6-6624-4c83-aac0-9aea992cfbe7" providerId="AD" clId="Web-{0B8A5CA8-75BC-1D12-FCF6-352290B4F533}" dt="2019-02-05T09:08:43.842" v="11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0B8A5CA8-75BC-1D12-FCF6-352290B4F533}" dt="2019-02-05T09:08:43.842" v="11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427C4A80-4E14-7611-6D07-6D10098881C1}"/>
    <pc:docChg chg="modSld">
      <pc:chgData name="Christodoulou, Konstantinos" userId="S::kchristodoulou@internal.colt.net::81c234c6-6624-4c83-aac0-9aea992cfbe7" providerId="AD" clId="Web-{427C4A80-4E14-7611-6D07-6D10098881C1}" dt="2019-02-28T12:29:59.655" v="1"/>
      <pc:docMkLst>
        <pc:docMk/>
      </pc:docMkLst>
      <pc:sldChg chg="modSp">
        <pc:chgData name="Christodoulou, Konstantinos" userId="S::kchristodoulou@internal.colt.net::81c234c6-6624-4c83-aac0-9aea992cfbe7" providerId="AD" clId="Web-{427C4A80-4E14-7611-6D07-6D10098881C1}" dt="2019-02-28T12:29:59.655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427C4A80-4E14-7611-6D07-6D10098881C1}" dt="2019-02-28T12:29:59.655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7F78C31E-6266-5F95-5E62-F4A64C204AB2}"/>
    <pc:docChg chg="modSld">
      <pc:chgData name="Christodoulou, Konstantinos" userId="S::kchristodoulou@internal.colt.net::81c234c6-6624-4c83-aac0-9aea992cfbe7" providerId="AD" clId="Web-{7F78C31E-6266-5F95-5E62-F4A64C204AB2}" dt="2019-02-05T10:04:44.461" v="11"/>
      <pc:docMkLst>
        <pc:docMk/>
      </pc:docMkLst>
      <pc:sldChg chg="modSp">
        <pc:chgData name="Christodoulou, Konstantinos" userId="S::kchristodoulou@internal.colt.net::81c234c6-6624-4c83-aac0-9aea992cfbe7" providerId="AD" clId="Web-{7F78C31E-6266-5F95-5E62-F4A64C204AB2}" dt="2019-02-05T10:04:44.461" v="1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7F78C31E-6266-5F95-5E62-F4A64C204AB2}" dt="2019-02-05T10:04:44.461" v="1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01503C8A-E0FD-18B7-5FB1-02549E6512DB}"/>
    <pc:docChg chg="modSld">
      <pc:chgData name="Christodoulou, Konstantinos" userId="S::kchristodoulou@internal.colt.net::81c234c6-6624-4c83-aac0-9aea992cfbe7" providerId="AD" clId="Web-{01503C8A-E0FD-18B7-5FB1-02549E6512DB}" dt="2018-11-01T10:51:53.768" v="303"/>
      <pc:docMkLst>
        <pc:docMk/>
      </pc:docMkLst>
      <pc:sldChg chg="modSp">
        <pc:chgData name="Christodoulou, Konstantinos" userId="S::kchristodoulou@internal.colt.net::81c234c6-6624-4c83-aac0-9aea992cfbe7" providerId="AD" clId="Web-{01503C8A-E0FD-18B7-5FB1-02549E6512DB}" dt="2018-11-01T10:51:53.768" v="30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01503C8A-E0FD-18B7-5FB1-02549E6512DB}" dt="2018-11-01T10:51:53.768" v="30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B45D2F3-FCAC-A47F-816D-51BC1CAAF704}"/>
    <pc:docChg chg="modSld">
      <pc:chgData name="Christodoulou, Konstantinos" userId="S::kchristodoulou@internal.colt.net::81c234c6-6624-4c83-aac0-9aea992cfbe7" providerId="AD" clId="Web-{AB45D2F3-FCAC-A47F-816D-51BC1CAAF704}" dt="2018-11-06T12:01:26.029" v="5"/>
      <pc:docMkLst>
        <pc:docMk/>
      </pc:docMkLst>
      <pc:sldChg chg="modSp">
        <pc:chgData name="Christodoulou, Konstantinos" userId="S::kchristodoulou@internal.colt.net::81c234c6-6624-4c83-aac0-9aea992cfbe7" providerId="AD" clId="Web-{AB45D2F3-FCAC-A47F-816D-51BC1CAAF704}" dt="2018-11-06T12:01:26.029" v="5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B45D2F3-FCAC-A47F-816D-51BC1CAAF704}" dt="2018-11-06T12:01:26.029" v="5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IT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Italy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550965"/>
              </p:ext>
            </p:extLst>
          </p:nvPr>
        </p:nvGraphicFramePr>
        <p:xfrm>
          <a:off x="823800" y="910040"/>
          <a:ext cx="10863790" cy="5807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7:00–09:00CET (Mon-Fri)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7:00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endParaRPr lang="en-GB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orm &amp;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Geo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: Letter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uthorisation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Copy of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 Invoice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baseline="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inc.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Secret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de</a:t>
                      </a:r>
                      <a:endParaRPr lang="en-GB" sz="14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n-Geo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: Copy of Customer Invoice </a:t>
                      </a:r>
                      <a:r>
                        <a:rPr lang="en-GB" sz="1400" kern="1200" baseline="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inc.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Secret Code</a:t>
                      </a:r>
                      <a:endParaRPr lang="en-GB" sz="1400" kern="1200" baseline="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93967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22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7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60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at </a:t>
                      </a:r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br>
                        <a:rPr lang="en-US" dirty="0"/>
                      </a:br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4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days (single number), 9 days (range) 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fter porting request</a:t>
                      </a:r>
                      <a:br>
                        <a:rPr lang="en-GB" sz="1400" b="0" dirty="0"/>
                      </a:b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c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cellation of the porting request is not allowed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 defTabSz="913943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Mailbox:</a:t>
                      </a:r>
                      <a:r>
                        <a:rPr lang="en-GB" sz="1400" b="0" i="0" u="none" strike="noStrike" kern="1200" noProof="0" dirty="0">
                          <a:latin typeface="Arial"/>
                        </a:rPr>
                        <a:t>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6"/>
                        </a:rPr>
                        <a:t>IT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6"/>
                        </a:rPr>
                        <a:t>@colt.net</a:t>
                      </a: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39 800973016</a:t>
                      </a:r>
                      <a:endParaRPr lang="en-GB" sz="1400" kern="1200" baseline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918" y="3130469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0" y="4008057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871" y="3176613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70</_dlc_DocId>
    <_dlc_DocIdUrl xmlns="85bdb67a-68dc-4b72-be68-a086d460c31f">
      <Url>https://coltinternal.sharepoint.com/sites/pt/PortingInformation/_layouts/15/DocIdRedir.aspx?ID=DHQ4KNS6T2M2-2111369996-70</Url>
      <Description>DHQ4KNS6T2M2-2111369996-70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BAB26B-A1E3-471D-B77A-296D5DF3E57B}">
  <ds:schemaRefs>
    <ds:schemaRef ds:uri="http://schemas.microsoft.com/office/2006/documentManagement/types"/>
    <ds:schemaRef ds:uri="f1d1c7a4-d8f1-45db-9f4e-e74acd9c8e06"/>
    <ds:schemaRef ds:uri="http://purl.org/dc/dcmitype/"/>
    <ds:schemaRef ds:uri="85bdb67a-68dc-4b72-be68-a086d460c31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2706C03-45E4-4F27-8C4E-12E42C770B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53C33B4-43A8-4559-8C5F-3671F9625165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39AB88E-B3E4-4701-B984-AC1D2C36EE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</Words>
  <Application>Microsoft Office PowerPoint</Application>
  <PresentationFormat>Widescreen</PresentationFormat>
  <Paragraphs>24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506</cp:revision>
  <dcterms:created xsi:type="dcterms:W3CDTF">2017-08-30T16:21:34Z</dcterms:created>
  <dcterms:modified xsi:type="dcterms:W3CDTF">2019-08-29T08:4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bc594e40-1ec1-41a3-b2c9-616fdb967ab5</vt:lpwstr>
  </property>
</Properties>
</file>